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31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286" r:id="rId18"/>
    <p:sldId id="288" r:id="rId19"/>
    <p:sldId id="287" r:id="rId20"/>
    <p:sldId id="277" r:id="rId21"/>
    <p:sldId id="279" r:id="rId22"/>
    <p:sldId id="278" r:id="rId23"/>
    <p:sldId id="269" r:id="rId24"/>
    <p:sldId id="263" r:id="rId25"/>
    <p:sldId id="258" r:id="rId26"/>
    <p:sldId id="270" r:id="rId27"/>
    <p:sldId id="284" r:id="rId28"/>
    <p:sldId id="257" r:id="rId29"/>
    <p:sldId id="268" r:id="rId3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leaky pre-processing" id="{F8E6AF8F-3C53-41C9-8FE5-0CD2B05328EF}">
          <p14:sldIdLst>
            <p14:sldId id="280"/>
            <p14:sldId id="281"/>
            <p14:sldId id="282"/>
            <p14:sldId id="283"/>
            <p14:sldId id="286"/>
            <p14:sldId id="288"/>
          </p14:sldIdLst>
        </p14:section>
        <p14:section name="pre-processing after data split" id="{956FAA02-4F2B-4384-873F-9E12E914F225}">
          <p14:sldIdLst>
            <p14:sldId id="287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110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0AD768-A59A-470B-9377-790E03FF084D}"/>
              </a:ext>
            </a:extLst>
          </p:cNvPr>
          <p:cNvSpPr/>
          <p:nvPr/>
        </p:nvSpPr>
        <p:spPr>
          <a:xfrm>
            <a:off x="4306186" y="467833"/>
            <a:ext cx="6836735" cy="53588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611667-AD1D-471D-A4C9-274318F03281}"/>
              </a:ext>
            </a:extLst>
          </p:cNvPr>
          <p:cNvSpPr txBox="1"/>
          <p:nvPr/>
        </p:nvSpPr>
        <p:spPr>
          <a:xfrm>
            <a:off x="1175081" y="2782112"/>
            <a:ext cx="14141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Dataset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261F977-FCCB-4A80-AC8F-4B6D7797EEB1}"/>
              </a:ext>
            </a:extLst>
          </p:cNvPr>
          <p:cNvSpPr/>
          <p:nvPr/>
        </p:nvSpPr>
        <p:spPr>
          <a:xfrm>
            <a:off x="2690038" y="2782112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7FFBF1C-6685-403E-B773-8642460D6EB2}"/>
              </a:ext>
            </a:extLst>
          </p:cNvPr>
          <p:cNvSpPr/>
          <p:nvPr/>
        </p:nvSpPr>
        <p:spPr>
          <a:xfrm>
            <a:off x="5007935" y="1853646"/>
            <a:ext cx="5872485" cy="37497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181884-8B04-4FF4-B76B-68A48EE191A4}"/>
              </a:ext>
            </a:extLst>
          </p:cNvPr>
          <p:cNvSpPr/>
          <p:nvPr/>
        </p:nvSpPr>
        <p:spPr>
          <a:xfrm>
            <a:off x="5911212" y="2817772"/>
            <a:ext cx="4729792" cy="25089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94F691-7C4F-4392-B69F-E8A30F3A96C2}"/>
              </a:ext>
            </a:extLst>
          </p:cNvPr>
          <p:cNvSpPr txBox="1"/>
          <p:nvPr/>
        </p:nvSpPr>
        <p:spPr>
          <a:xfrm>
            <a:off x="4322136" y="526956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rans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A2E94E-3446-49B2-A5CD-BECC77DA3C69}"/>
              </a:ext>
            </a:extLst>
          </p:cNvPr>
          <p:cNvSpPr txBox="1"/>
          <p:nvPr/>
        </p:nvSpPr>
        <p:spPr>
          <a:xfrm>
            <a:off x="4322136" y="954155"/>
            <a:ext cx="6717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SS(), ALR_optimal(), ALR_worst(), ALR_random(), CLR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50C6A0-1926-4046-BC27-DFA2FE1A9C1C}"/>
              </a:ext>
            </a:extLst>
          </p:cNvPr>
          <p:cNvSpPr txBox="1"/>
          <p:nvPr/>
        </p:nvSpPr>
        <p:spPr>
          <a:xfrm>
            <a:off x="5031202" y="2212828"/>
            <a:ext cx="6297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itial split of data, k-folds = 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A0A2DE-16AF-4170-ACB4-FD4746EBB9F5}"/>
              </a:ext>
            </a:extLst>
          </p:cNvPr>
          <p:cNvSpPr txBox="1"/>
          <p:nvPr/>
        </p:nvSpPr>
        <p:spPr>
          <a:xfrm>
            <a:off x="5007935" y="1858865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B02149-0C4C-44EE-88C0-C3ADB582BF80}"/>
              </a:ext>
            </a:extLst>
          </p:cNvPr>
          <p:cNvSpPr/>
          <p:nvPr/>
        </p:nvSpPr>
        <p:spPr>
          <a:xfrm>
            <a:off x="11438976" y="1435395"/>
            <a:ext cx="1506048" cy="12262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9770FC-6936-4E84-9E60-791E4AEA651A}"/>
              </a:ext>
            </a:extLst>
          </p:cNvPr>
          <p:cNvSpPr txBox="1"/>
          <p:nvPr/>
        </p:nvSpPr>
        <p:spPr>
          <a:xfrm>
            <a:off x="11634614" y="1793808"/>
            <a:ext cx="131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est se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277B8AC-608F-404F-910C-FF6C16EE64B0}"/>
              </a:ext>
            </a:extLst>
          </p:cNvPr>
          <p:cNvSpPr txBox="1"/>
          <p:nvPr/>
        </p:nvSpPr>
        <p:spPr>
          <a:xfrm>
            <a:off x="5975007" y="2848150"/>
            <a:ext cx="4327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2 + Mode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629AE7-8DD7-46F5-8B1A-937532D154CC}"/>
              </a:ext>
            </a:extLst>
          </p:cNvPr>
          <p:cNvSpPr txBox="1"/>
          <p:nvPr/>
        </p:nvSpPr>
        <p:spPr>
          <a:xfrm>
            <a:off x="6020686" y="3268321"/>
            <a:ext cx="4081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-folds = 5</a:t>
            </a:r>
          </a:p>
          <a:p>
            <a:endParaRPr lang="de-DE" dirty="0"/>
          </a:p>
          <a:p>
            <a:r>
              <a:rPr lang="de-DE" dirty="0"/>
              <a:t>cv.selbal</a:t>
            </a:r>
          </a:p>
          <a:p>
            <a:r>
              <a:rPr lang="de-DE" dirty="0"/>
              <a:t>cv.codacore</a:t>
            </a:r>
          </a:p>
          <a:p>
            <a:r>
              <a:rPr lang="de-DE" dirty="0"/>
              <a:t>ENET</a:t>
            </a:r>
          </a:p>
          <a:p>
            <a:r>
              <a:rPr lang="de-DE" dirty="0"/>
              <a:t>LDA</a:t>
            </a:r>
          </a:p>
          <a:p>
            <a:r>
              <a:rPr lang="de-DE" dirty="0"/>
              <a:t>XGBoo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8DF47F0-180B-4ECD-9EC5-0FAD8F6AD0D9}"/>
              </a:ext>
            </a:extLst>
          </p:cNvPr>
          <p:cNvSpPr/>
          <p:nvPr/>
        </p:nvSpPr>
        <p:spPr>
          <a:xfrm>
            <a:off x="11438976" y="4282913"/>
            <a:ext cx="1519166" cy="137975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46927C-78DF-451F-890D-477AC52B8676}"/>
              </a:ext>
            </a:extLst>
          </p:cNvPr>
          <p:cNvSpPr txBox="1"/>
          <p:nvPr/>
        </p:nvSpPr>
        <p:spPr>
          <a:xfrm>
            <a:off x="11518374" y="4605618"/>
            <a:ext cx="13915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5x Model accuracy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8DF1C14D-4124-4C1E-8065-E84C82426493}"/>
              </a:ext>
            </a:extLst>
          </p:cNvPr>
          <p:cNvSpPr/>
          <p:nvPr/>
        </p:nvSpPr>
        <p:spPr>
          <a:xfrm rot="5400000">
            <a:off x="11543413" y="3283797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Arrow: Curved Down 13">
            <a:extLst>
              <a:ext uri="{FF2B5EF4-FFF2-40B4-BE49-F238E27FC236}">
                <a16:creationId xmlns:a16="http://schemas.microsoft.com/office/drawing/2014/main" id="{E03AA2E6-2D0B-42B5-8D5D-71BCA72B5FFD}"/>
              </a:ext>
            </a:extLst>
          </p:cNvPr>
          <p:cNvSpPr/>
          <p:nvPr/>
        </p:nvSpPr>
        <p:spPr>
          <a:xfrm rot="19742778">
            <a:off x="10119539" y="872366"/>
            <a:ext cx="1839432" cy="813793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1" name="Arrow: Curved Down 50">
            <a:extLst>
              <a:ext uri="{FF2B5EF4-FFF2-40B4-BE49-F238E27FC236}">
                <a16:creationId xmlns:a16="http://schemas.microsoft.com/office/drawing/2014/main" id="{69FBA25F-FDEA-4F5E-B8F3-D6052EF6FDF8}"/>
              </a:ext>
            </a:extLst>
          </p:cNvPr>
          <p:cNvSpPr/>
          <p:nvPr/>
        </p:nvSpPr>
        <p:spPr>
          <a:xfrm rot="19287333">
            <a:off x="9943675" y="3792887"/>
            <a:ext cx="1839432" cy="813793"/>
          </a:xfrm>
          <a:prstGeom prst="curved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ABD0FA6-70C3-4752-ABA9-C68A18300A59}"/>
              </a:ext>
            </a:extLst>
          </p:cNvPr>
          <p:cNvSpPr/>
          <p:nvPr/>
        </p:nvSpPr>
        <p:spPr>
          <a:xfrm>
            <a:off x="3732028" y="148856"/>
            <a:ext cx="9654363" cy="6351977"/>
          </a:xfrm>
          <a:prstGeom prst="ellipse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B392D2-B354-448B-990C-3B9E3DA5C747}"/>
              </a:ext>
            </a:extLst>
          </p:cNvPr>
          <p:cNvSpPr txBox="1"/>
          <p:nvPr/>
        </p:nvSpPr>
        <p:spPr>
          <a:xfrm>
            <a:off x="2743537" y="4984935"/>
            <a:ext cx="2204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7030A0"/>
                </a:solidFill>
              </a:rPr>
              <a:t>Repeat 10x to observe statistical fluctu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6F2CFA-5B65-49D8-82B7-87D8FD3D698C}"/>
              </a:ext>
            </a:extLst>
          </p:cNvPr>
          <p:cNvSpPr txBox="1"/>
          <p:nvPr/>
        </p:nvSpPr>
        <p:spPr>
          <a:xfrm rot="1525523">
            <a:off x="8501597" y="2003123"/>
            <a:ext cx="3033375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Procedure (besides transformation) has been implemented by mikropml -&gt; very easy to use!</a:t>
            </a:r>
          </a:p>
        </p:txBody>
      </p: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5360" y="127474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C3A6AC56-832C-4791-9A1D-AEB11862F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4150" y="1397132"/>
            <a:ext cx="5741443" cy="49212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 descr="Chart, box and whisker chart&#10;&#10;Description automatically generated">
            <a:extLst>
              <a:ext uri="{FF2B5EF4-FFF2-40B4-BE49-F238E27FC236}">
                <a16:creationId xmlns:a16="http://schemas.microsoft.com/office/drawing/2014/main" id="{9484F83E-5812-45BD-83BB-3A78DCE4FE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418" y="1397132"/>
            <a:ext cx="5741443" cy="492123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90C8CEC4-BD3E-431E-A55D-770B9106D7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0544" y="1509823"/>
            <a:ext cx="5822962" cy="4991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 descr="Chart, box and whisker chart&#10;&#10;Description automatically generated">
            <a:extLst>
              <a:ext uri="{FF2B5EF4-FFF2-40B4-BE49-F238E27FC236}">
                <a16:creationId xmlns:a16="http://schemas.microsoft.com/office/drawing/2014/main" id="{6FA6BF7F-3916-45B9-AB94-6160AF4F30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37" y="1509823"/>
            <a:ext cx="5822962" cy="49911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58478DF-F55C-4045-95C1-11F014038F0C}"/>
              </a:ext>
            </a:extLst>
          </p:cNvPr>
          <p:cNvSpPr txBox="1"/>
          <p:nvPr/>
        </p:nvSpPr>
        <p:spPr>
          <a:xfrm>
            <a:off x="10069032" y="49376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Not predicted on holdout set!</a:t>
            </a:r>
          </a:p>
        </p:txBody>
      </p: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19D4-5A1D-406E-B958-814E7EF3F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B7A1B-E35E-4452-96E2-08351A6B15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1E5E42-2681-4EA2-85B1-A8E0A6002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5BB62-8156-474E-9E28-A89D9E5B3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6D8D9-6050-456A-84A5-BD279209F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704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1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1181</Words>
  <Application>Microsoft Office PowerPoint</Application>
  <PresentationFormat>Widescreen</PresentationFormat>
  <Paragraphs>261</Paragraphs>
  <Slides>2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4" baseType="lpstr">
      <vt:lpstr>Arial</vt:lpstr>
      <vt:lpstr>Calibri</vt:lpstr>
      <vt:lpstr>Century Gothic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PCOS classification and same initial split</vt:lpstr>
      <vt:lpstr>CRC classification and same initial split</vt:lpstr>
      <vt:lpstr>PowerPoint Presentation</vt:lpstr>
      <vt:lpstr>Pre-Processing</vt:lpstr>
      <vt:lpstr>Transformations</vt:lpstr>
      <vt:lpstr>Hierarchy dimensionality reduction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73</cp:revision>
  <dcterms:created xsi:type="dcterms:W3CDTF">2022-01-12T16:41:21Z</dcterms:created>
  <dcterms:modified xsi:type="dcterms:W3CDTF">2022-04-11T10:51:55Z</dcterms:modified>
</cp:coreProperties>
</file>